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9"/>
  </p:notesMasterIdLst>
  <p:sldIdLst>
    <p:sldId id="760" r:id="rId2"/>
    <p:sldId id="759" r:id="rId3"/>
    <p:sldId id="663" r:id="rId4"/>
    <p:sldId id="572" r:id="rId5"/>
    <p:sldId id="349" r:id="rId6"/>
    <p:sldId id="44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6" r:id="rId15"/>
    <p:sldId id="299" r:id="rId16"/>
    <p:sldId id="350" r:id="rId17"/>
    <p:sldId id="383" r:id="rId18"/>
    <p:sldId id="384" r:id="rId19"/>
    <p:sldId id="385" r:id="rId20"/>
    <p:sldId id="387" r:id="rId21"/>
    <p:sldId id="388" r:id="rId22"/>
    <p:sldId id="389" r:id="rId23"/>
    <p:sldId id="391" r:id="rId24"/>
    <p:sldId id="390" r:id="rId25"/>
    <p:sldId id="448" r:id="rId26"/>
    <p:sldId id="449" r:id="rId27"/>
    <p:sldId id="392" r:id="rId28"/>
    <p:sldId id="450" r:id="rId29"/>
    <p:sldId id="405" r:id="rId30"/>
    <p:sldId id="407" r:id="rId31"/>
    <p:sldId id="408" r:id="rId32"/>
    <p:sldId id="386" r:id="rId33"/>
    <p:sldId id="393" r:id="rId34"/>
    <p:sldId id="411" r:id="rId35"/>
    <p:sldId id="412" r:id="rId36"/>
    <p:sldId id="414" r:id="rId37"/>
    <p:sldId id="451" r:id="rId38"/>
    <p:sldId id="415" r:id="rId39"/>
    <p:sldId id="416" r:id="rId40"/>
    <p:sldId id="417" r:id="rId41"/>
    <p:sldId id="419" r:id="rId42"/>
    <p:sldId id="420" r:id="rId43"/>
    <p:sldId id="421" r:id="rId44"/>
    <p:sldId id="422" r:id="rId45"/>
    <p:sldId id="425" r:id="rId46"/>
    <p:sldId id="423" r:id="rId47"/>
    <p:sldId id="424" r:id="rId48"/>
    <p:sldId id="428" r:id="rId49"/>
    <p:sldId id="429" r:id="rId50"/>
    <p:sldId id="431" r:id="rId51"/>
    <p:sldId id="432" r:id="rId52"/>
    <p:sldId id="433" r:id="rId53"/>
    <p:sldId id="438" r:id="rId54"/>
    <p:sldId id="454" r:id="rId55"/>
    <p:sldId id="459" r:id="rId56"/>
    <p:sldId id="457" r:id="rId57"/>
    <p:sldId id="461" r:id="rId5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75" autoAdjust="0"/>
    <p:restoredTop sz="91497" autoAdjust="0"/>
  </p:normalViewPr>
  <p:slideViewPr>
    <p:cSldViewPr snapToGrid="0">
      <p:cViewPr varScale="1">
        <p:scale>
          <a:sx n="112" d="100"/>
          <a:sy n="112" d="100"/>
        </p:scale>
        <p:origin x="1416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7/1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13/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461738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13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2"/>
            <a:ext cx="1971675" cy="448759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47488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13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3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13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13/24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13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3/24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46142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460142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13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451572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6"/>
            <a:ext cx="2949178" cy="447778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13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13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29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30D527-EA3B-642E-B68B-73142E771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148DA2-7C26-F4B9-74E3-BD34FEA0B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36524"/>
            <a:ext cx="7886700" cy="591477"/>
          </a:xfrm>
        </p:spPr>
        <p:txBody>
          <a:bodyPr/>
          <a:lstStyle/>
          <a:p>
            <a:r>
              <a:rPr lang="en-US" dirty="0"/>
              <a:t>Breaks….I can go and go and go because I like the topics.  Please stop me at 90min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94903-3DFC-0A89-9B8A-87B5AED0D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6F399-E3F2-13C4-CA2B-3764D6320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F70B7E-7846-289D-327B-C9AC97B3A7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410012"/>
            <a:ext cx="5623560" cy="3843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38F8909-B354-4676-14A2-82643573FBA7}"/>
              </a:ext>
            </a:extLst>
          </p:cNvPr>
          <p:cNvSpPr txBox="1"/>
          <p:nvPr/>
        </p:nvSpPr>
        <p:spPr>
          <a:xfrm>
            <a:off x="1028700" y="5634990"/>
            <a:ext cx="4607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 will try to do 10min breaks at 90min intervals!</a:t>
            </a:r>
          </a:p>
        </p:txBody>
      </p:sp>
    </p:spTree>
    <p:extLst>
      <p:ext uri="{BB962C8B-B14F-4D97-AF65-F5344CB8AC3E}">
        <p14:creationId xmlns:p14="http://schemas.microsoft.com/office/powerpoint/2010/main" val="1853901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452B8EB-01E2-5D16-3619-CB3B6213EA6C}"/>
              </a:ext>
            </a:extLst>
          </p:cNvPr>
          <p:cNvSpPr/>
          <p:nvPr/>
        </p:nvSpPr>
        <p:spPr>
          <a:xfrm>
            <a:off x="4954905" y="1878793"/>
            <a:ext cx="3086100" cy="11772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F2FF6B-C4D0-00BC-5A0B-CD9FB37B6F6E}"/>
              </a:ext>
            </a:extLst>
          </p:cNvPr>
          <p:cNvSpPr/>
          <p:nvPr/>
        </p:nvSpPr>
        <p:spPr>
          <a:xfrm>
            <a:off x="342900" y="1878793"/>
            <a:ext cx="4514850" cy="11772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5F306B-1AEB-6D55-29D8-5620F2F8E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452265-563E-2DC8-9F42-6C1C3EF5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ruction Paradig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A40F25-0DC3-3279-AF85-5FB6F2BAC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AEF891-0875-AA3F-E8AA-E3F7F70E83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813DC6-78E8-106E-0624-8690C6AD56C1}"/>
              </a:ext>
            </a:extLst>
          </p:cNvPr>
          <p:cNvSpPr/>
          <p:nvPr/>
        </p:nvSpPr>
        <p:spPr>
          <a:xfrm>
            <a:off x="62865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tai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B5A04D-621B-1708-EC79-3EBB2C56301E}"/>
              </a:ext>
            </a:extLst>
          </p:cNvPr>
          <p:cNvSpPr/>
          <p:nvPr/>
        </p:nvSpPr>
        <p:spPr>
          <a:xfrm>
            <a:off x="213741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rub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07BB9D-3E00-6769-D740-CB98182040EA}"/>
              </a:ext>
            </a:extLst>
          </p:cNvPr>
          <p:cNvSpPr/>
          <p:nvPr/>
        </p:nvSpPr>
        <p:spPr>
          <a:xfrm>
            <a:off x="364617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plo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2223A9-56FA-78C4-87E9-6D93F9939830}"/>
              </a:ext>
            </a:extLst>
          </p:cNvPr>
          <p:cNvSpPr/>
          <p:nvPr/>
        </p:nvSpPr>
        <p:spPr>
          <a:xfrm>
            <a:off x="515493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293AA3-4B8E-9ACD-FA07-31F7BF92C85F}"/>
              </a:ext>
            </a:extLst>
          </p:cNvPr>
          <p:cNvSpPr/>
          <p:nvPr/>
        </p:nvSpPr>
        <p:spPr>
          <a:xfrm>
            <a:off x="6663690" y="2297430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pr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B84B4E-A1EE-05C4-D40E-D2DED17D5A8E}"/>
              </a:ext>
            </a:extLst>
          </p:cNvPr>
          <p:cNvSpPr txBox="1"/>
          <p:nvPr/>
        </p:nvSpPr>
        <p:spPr>
          <a:xfrm>
            <a:off x="2160270" y="1882378"/>
            <a:ext cx="96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y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12CECD-7AC7-34D2-997C-166A2718BA90}"/>
              </a:ext>
            </a:extLst>
          </p:cNvPr>
          <p:cNvSpPr txBox="1"/>
          <p:nvPr/>
        </p:nvSpPr>
        <p:spPr>
          <a:xfrm>
            <a:off x="5926455" y="1903446"/>
            <a:ext cx="96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y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BD0BB7-CFAF-949F-B4D9-D023A6ADB338}"/>
              </a:ext>
            </a:extLst>
          </p:cNvPr>
          <p:cNvSpPr txBox="1"/>
          <p:nvPr/>
        </p:nvSpPr>
        <p:spPr>
          <a:xfrm>
            <a:off x="342900" y="1484809"/>
            <a:ext cx="5421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6FE97F-916C-D683-D6E4-F3165C0D0ACF}"/>
              </a:ext>
            </a:extLst>
          </p:cNvPr>
          <p:cNvSpPr/>
          <p:nvPr/>
        </p:nvSpPr>
        <p:spPr>
          <a:xfrm>
            <a:off x="22860" y="3516601"/>
            <a:ext cx="9115426" cy="11772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B7514B2-5CB4-279F-9AAC-C841A99FAE47}"/>
              </a:ext>
            </a:extLst>
          </p:cNvPr>
          <p:cNvSpPr/>
          <p:nvPr/>
        </p:nvSpPr>
        <p:spPr>
          <a:xfrm>
            <a:off x="222885" y="3935238"/>
            <a:ext cx="1183005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tain</a:t>
            </a:r>
          </a:p>
          <a:p>
            <a:pPr algn="ctr"/>
            <a:r>
              <a:rPr lang="en-US" dirty="0"/>
              <a:t>Expand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059EE5-6EA0-8351-893B-4E2B30C01351}"/>
              </a:ext>
            </a:extLst>
          </p:cNvPr>
          <p:cNvSpPr/>
          <p:nvPr/>
        </p:nvSpPr>
        <p:spPr>
          <a:xfrm>
            <a:off x="181737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ru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52FDE26-681C-E4FC-DB2A-D708912410BF}"/>
              </a:ext>
            </a:extLst>
          </p:cNvPr>
          <p:cNvSpPr/>
          <p:nvPr/>
        </p:nvSpPr>
        <p:spPr>
          <a:xfrm>
            <a:off x="332613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plo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CBFDE7-3230-9927-15B4-2B0493BBE837}"/>
              </a:ext>
            </a:extLst>
          </p:cNvPr>
          <p:cNvSpPr/>
          <p:nvPr/>
        </p:nvSpPr>
        <p:spPr>
          <a:xfrm>
            <a:off x="483489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92C318-A897-8B3E-30D6-941DD408978C}"/>
              </a:ext>
            </a:extLst>
          </p:cNvPr>
          <p:cNvSpPr/>
          <p:nvPr/>
        </p:nvSpPr>
        <p:spPr>
          <a:xfrm>
            <a:off x="6343650" y="3935238"/>
            <a:ext cx="1097280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pr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6FAE59-804B-DC0D-23C4-E556A1CF62FD}"/>
              </a:ext>
            </a:extLst>
          </p:cNvPr>
          <p:cNvSpPr txBox="1"/>
          <p:nvPr/>
        </p:nvSpPr>
        <p:spPr>
          <a:xfrm>
            <a:off x="1840230" y="3520186"/>
            <a:ext cx="4309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Also reviewed </a:t>
            </a:r>
            <a:r>
              <a:rPr lang="en-US" dirty="0">
                <a:solidFill>
                  <a:schemeClr val="bg1"/>
                </a:solidFill>
              </a:rPr>
              <a:t>in Pyth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FA1659D-319C-D49C-AB3B-15E00D7D3112}"/>
              </a:ext>
            </a:extLst>
          </p:cNvPr>
          <p:cNvSpPr/>
          <p:nvPr/>
        </p:nvSpPr>
        <p:spPr>
          <a:xfrm>
            <a:off x="7703819" y="3935238"/>
            <a:ext cx="1274445" cy="59147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42854227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/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481D41-D5CD-F042-8FC0-5659D7E25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7E9391-6913-4C41-8C29-18C4F0136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The course uses </a:t>
            </a:r>
            <a:r>
              <a:rPr lang="en-US" sz="2800" strike="sngStrike" dirty="0"/>
              <a:t>three</a:t>
            </a:r>
            <a:r>
              <a:rPr lang="en-US" sz="2800" dirty="0"/>
              <a:t> four software components for learning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C393C-7BAD-D147-88A8-AE7589E97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B14BF3-8268-A349-BDBA-411B4380B8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F8A957-9325-EB49-BEBD-0CC9764D83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838" y="1942705"/>
            <a:ext cx="1309260" cy="10126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EDB5BF-7FA9-E14A-9EAD-4975725A74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4231" y="1965896"/>
            <a:ext cx="966304" cy="9663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2A0FA41-7EA2-7A43-9229-D69DBC808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519" y="1960685"/>
            <a:ext cx="2341217" cy="97672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9286733-6DD0-494B-AA49-32776EDC1C43}"/>
              </a:ext>
            </a:extLst>
          </p:cNvPr>
          <p:cNvSpPr txBox="1"/>
          <p:nvPr/>
        </p:nvSpPr>
        <p:spPr>
          <a:xfrm>
            <a:off x="443948" y="3354781"/>
            <a:ext cx="19730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atistical Softwa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DA6791-53F0-9E44-84FF-6D991276D7B7}"/>
              </a:ext>
            </a:extLst>
          </p:cNvPr>
          <p:cNvSpPr txBox="1"/>
          <p:nvPr/>
        </p:nvSpPr>
        <p:spPr>
          <a:xfrm>
            <a:off x="3488635" y="3077782"/>
            <a:ext cx="14974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egrated Development Environ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0DEE9C-36EB-554B-95C9-2951CEA7D8CB}"/>
              </a:ext>
            </a:extLst>
          </p:cNvPr>
          <p:cNvSpPr txBox="1"/>
          <p:nvPr/>
        </p:nvSpPr>
        <p:spPr>
          <a:xfrm>
            <a:off x="6766336" y="3077782"/>
            <a:ext cx="12655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ersion Control &amp; file sharing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5FC24421-290C-AB4A-8C1F-29E3EE70A800}"/>
              </a:ext>
            </a:extLst>
          </p:cNvPr>
          <p:cNvSpPr txBox="1">
            <a:spLocks/>
          </p:cNvSpPr>
          <p:nvPr/>
        </p:nvSpPr>
        <p:spPr>
          <a:xfrm>
            <a:off x="208904" y="1214370"/>
            <a:ext cx="8726193" cy="5571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n the next sections, skip to the method you want to use Local (Mac or Windows, Virtual Machine, Cloud/Hosted)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A8C5E8-9889-C44A-B045-FA0901A14073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13EB4BC-C015-4541-8D38-BA8D298CF66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BB50994-C975-6331-7F5E-732B70051B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948" y="4825960"/>
            <a:ext cx="2271449" cy="143098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87F7CCB-2327-55EC-EDEC-66670BB05E6D}"/>
              </a:ext>
            </a:extLst>
          </p:cNvPr>
          <p:cNvSpPr txBox="1"/>
          <p:nvPr/>
        </p:nvSpPr>
        <p:spPr>
          <a:xfrm>
            <a:off x="3028950" y="5356784"/>
            <a:ext cx="4652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un local LLMs…limited on session 1 but will expand with more NLP basics in session 2.</a:t>
            </a:r>
          </a:p>
        </p:txBody>
      </p:sp>
    </p:spTree>
    <p:extLst>
      <p:ext uri="{BB962C8B-B14F-4D97-AF65-F5344CB8AC3E}">
        <p14:creationId xmlns:p14="http://schemas.microsoft.com/office/powerpoint/2010/main" val="29530588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4295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B_Regression_mai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binary classification with logistic 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have a basic understanding of LLMs 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6810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2463617" y="5231983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3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873</TotalTime>
  <Words>2675</Words>
  <Application>Microsoft Macintosh PowerPoint</Application>
  <PresentationFormat>On-screen Show (4:3)</PresentationFormat>
  <Paragraphs>632</Paragraphs>
  <Slides>5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6" baseType="lpstr">
      <vt:lpstr>Arial</vt:lpstr>
      <vt:lpstr>Calibri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Breaks….I can go and go and go because I like the topics.  Please stop me at 90min!</vt:lpstr>
      <vt:lpstr>Instruction Paradigm</vt:lpstr>
      <vt:lpstr>The course uses three four software components for learning.</vt:lpstr>
      <vt:lpstr>Your Data Mining Toolbox</vt:lpstr>
      <vt:lpstr>Let’s Practice</vt:lpstr>
      <vt:lpstr>PowerPoint Presentation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Review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xplanatory Modeling</vt:lpstr>
      <vt:lpstr>Predictive Modeling</vt:lpstr>
      <vt:lpstr>How does truecar.com know the price is “great?”</vt:lpstr>
      <vt:lpstr>PowerPoint Presentation</vt:lpstr>
      <vt:lpstr>Welcome Dale to TrueCar’s Competitor: OldCar</vt:lpstr>
      <vt:lpstr>Let’s help Dale.</vt:lpstr>
      <vt:lpstr>Let’s practice.</vt:lpstr>
      <vt:lpstr>Regression is susceptible to multi-colinearity</vt:lpstr>
      <vt:lpstr>Regression is susceptible to multi-colinearity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Back to script C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Ted Kwartler</cp:lastModifiedBy>
  <cp:revision>312</cp:revision>
  <dcterms:created xsi:type="dcterms:W3CDTF">2018-05-23T17:24:59Z</dcterms:created>
  <dcterms:modified xsi:type="dcterms:W3CDTF">2024-07-14T02:49:37Z</dcterms:modified>
</cp:coreProperties>
</file>